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7"/>
  </p:notesMasterIdLst>
  <p:handoutMasterIdLst>
    <p:handoutMasterId r:id="rId8"/>
  </p:handoutMasterIdLst>
  <p:sldIdLst>
    <p:sldId id="2147478841" r:id="rId6"/>
  </p:sldIdLst>
  <p:sldSz cx="11520488" cy="6480175"/>
  <p:notesSz cx="6858000" cy="9144000"/>
  <p:custDataLst>
    <p:tags r:id="rId9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  <p188:author id="{8F84E52C-5464-E818-7815-249FDA44FAC4}" name="Werner Roman FRD FIEA" initials="WRFF" userId="S::roman.werner@zf.com::179b31d7-4203-431e-8a87-3306d648d0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600"/>
    <a:srgbClr val="575757"/>
    <a:srgbClr val="D8D8D8"/>
    <a:srgbClr val="979797"/>
    <a:srgbClr val="FBA702"/>
    <a:srgbClr val="E1E3DE"/>
    <a:srgbClr val="F3F6CA"/>
    <a:srgbClr val="737A1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8D540D-41AC-4B40-811F-DBBEDC9F4615}" v="2" dt="2024-04-04T08:53:24.859"/>
    <p1510:client id="{2B3F8A2D-9327-FFA5-441D-48C757D1B3EF}" v="20" dt="2024-04-04T10:55:4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125" y="-21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o Focken" userId="07ddbd8f-7dc8-4c50-855e-1be4be0ab5a1" providerId="ADAL" clId="{19D41F2B-6BA6-114E-B740-D17E1A3D9609}"/>
    <pc:docChg chg="undo custSel addSld delSld modSld">
      <pc:chgData name="Hanno Focken" userId="07ddbd8f-7dc8-4c50-855e-1be4be0ab5a1" providerId="ADAL" clId="{19D41F2B-6BA6-114E-B740-D17E1A3D9609}" dt="2023-09-29T09:03:23.996" v="7" actId="14100"/>
      <pc:docMkLst>
        <pc:docMk/>
      </pc:docMkLst>
      <pc:sldChg chg="add del">
        <pc:chgData name="Hanno Focken" userId="07ddbd8f-7dc8-4c50-855e-1be4be0ab5a1" providerId="ADAL" clId="{19D41F2B-6BA6-114E-B740-D17E1A3D9609}" dt="2023-09-28T06:10:33.988" v="2" actId="2696"/>
        <pc:sldMkLst>
          <pc:docMk/>
          <pc:sldMk cId="2493062518" sldId="332"/>
        </pc:sldMkLst>
      </pc:sldChg>
      <pc:sldChg chg="modSp mod">
        <pc:chgData name="Hanno Focken" userId="07ddbd8f-7dc8-4c50-855e-1be4be0ab5a1" providerId="ADAL" clId="{19D41F2B-6BA6-114E-B740-D17E1A3D9609}" dt="2023-09-29T09:03:23.996" v="7" actId="14100"/>
        <pc:sldMkLst>
          <pc:docMk/>
          <pc:sldMk cId="4150881068" sldId="2147478950"/>
        </pc:sldMkLst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5" creationId="{44760164-D082-494E-52A5-62CF46B4CC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6" creationId="{5E42BAFD-1232-8134-6859-2E16A354D3F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7" creationId="{EF8AC68E-F784-A489-D43C-8815F66F590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8" creationId="{A98219BD-FCA9-AC92-2E5C-45586DED114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0" creationId="{F2181D46-EB22-B1B8-6926-E65BE670685D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1" creationId="{0095A86F-766D-F2F4-BD84-10D783FD0E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2" creationId="{B0159A5A-4414-DE81-12DE-D2E2E01C2EB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3" creationId="{536AB374-A5C4-993D-8F8C-63DA102A61C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4" creationId="{2179D842-7BB7-0D6D-BD11-1FD4DA2541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5" creationId="{A92716DE-D63E-E8A5-C372-AE1950BAD7D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6" creationId="{6E33FFCF-42BF-1AEB-D162-D8202CC5C47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7" creationId="{AA9E5D1E-2DC3-A303-63E3-B52E59E09D0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8" creationId="{3EDF14C0-CF9D-880D-CFF8-F4F8A534AC0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9" creationId="{6C02E498-B86E-CC90-BCB7-B25D731BF5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0" creationId="{12BF4F4C-6F8F-E29B-6A8E-59597A2F64C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1" creationId="{C40D84AF-2DEB-A7C1-33E9-475B693AE72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2" creationId="{F729C5AF-9FB0-331D-D641-AB613A2577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4" creationId="{E50BC951-7A86-B226-D294-AB8678D253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5" creationId="{398A241B-E53E-50A2-5FA1-1DD57059EBA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6" creationId="{BE377912-B014-C897-AE0D-F50CB7CB81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7" creationId="{DF81693C-19C2-E535-DB01-C89C60C5EFC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8" creationId="{16F8CAD0-BBC3-B67A-F62A-EF2046C5F1C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0" creationId="{F47B8996-391D-114B-0A61-1F048705CA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1" creationId="{181347A5-D458-0383-8C54-22015A699DE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7" creationId="{BCF312F9-8E2B-B497-F0A1-7C435DEC091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8" creationId="{045D8A18-5FFC-8188-BC8F-F60100FE2D8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9" creationId="{7DD4F968-5D14-B467-65FE-18A80506448D}"/>
          </ac:spMkLst>
        </pc:spChg>
        <pc:spChg chg="mod">
          <ac:chgData name="Hanno Focken" userId="07ddbd8f-7dc8-4c50-855e-1be4be0ab5a1" providerId="ADAL" clId="{19D41F2B-6BA6-114E-B740-D17E1A3D9609}" dt="2023-09-29T09:03:23.996" v="7" actId="14100"/>
          <ac:spMkLst>
            <pc:docMk/>
            <pc:sldMk cId="4150881068" sldId="2147478950"/>
            <ac:spMk id="210" creationId="{E68D98DF-5C6C-32FC-99AE-DDA24A2E22D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1" creationId="{634244C5-F9C5-7A8B-DF5F-701887C50E14}"/>
          </ac:spMkLst>
        </pc:spChg>
        <pc:spChg chg="mod">
          <ac:chgData name="Hanno Focken" userId="07ddbd8f-7dc8-4c50-855e-1be4be0ab5a1" providerId="ADAL" clId="{19D41F2B-6BA6-114E-B740-D17E1A3D9609}" dt="2023-09-29T09:02:49.318" v="6" actId="14100"/>
          <ac:spMkLst>
            <pc:docMk/>
            <pc:sldMk cId="4150881068" sldId="2147478950"/>
            <ac:spMk id="212" creationId="{0DDF00E7-032D-C16B-B94B-804644AD392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5" creationId="{11A97735-4490-75C5-B553-18BE99B1A79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6" creationId="{0B4B420B-D14F-7520-8F54-04C13CD6B8A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7" creationId="{09309181-BBCE-8F55-B39E-C89D8D2F85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8" creationId="{D67A0011-F5B8-BBC9-2DBA-8541F421C4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2" creationId="{7A8B637C-9D28-0C92-A421-92356489B83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3" creationId="{87944A7B-2FE7-27E4-4876-E180406377E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4" creationId="{BC98BBBB-6961-8684-069C-13EEC08D7F8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5" creationId="{A254AF7D-F138-0FF6-D869-87BF9364A9E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6" creationId="{8991DB85-40CE-8585-D930-B58E31394FF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7" creationId="{073218E2-A855-4746-E1A3-F40880C0BF3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8" creationId="{452E8975-6BA6-C154-E236-8F9C2F701DC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0" creationId="{1F602A78-C6C5-C38D-D974-72512A7EEAB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1" creationId="{C7014AFA-C52A-8DB2-0642-86ECDB780E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3" creationId="{836593DC-B4FD-2149-FB04-BE49749F13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6" creationId="{1A086FC5-FC3A-D0D2-E037-CBCEB92CAE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7" creationId="{903327F9-C3EF-7881-3255-BD0FF1F0248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0" creationId="{19617544-45D3-772D-15EC-174ECB83F72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1" creationId="{C6D801B4-D767-ACFE-219F-945FD59EACB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2" creationId="{A64BA04D-37D8-9FDA-82B1-C5E810604EA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3" creationId="{040BE928-DF26-3EB6-F09E-434631BC0D3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4" creationId="{9EE7380E-4A3E-A738-A4E3-8097E72F187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5" creationId="{951DA544-85FD-F53C-0012-966F9D29D8B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7" creationId="{19A6E2FE-1E87-C62E-F622-45C97EA2109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0" creationId="{46CC7317-75D6-2416-1A04-40C66C5170A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3" creationId="{AF7D8254-1281-6889-FFFA-BEF883847FB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5" creationId="{17AB39E3-8982-3262-3A33-68EA0F903D0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6" creationId="{F69C3EE8-1799-0B8E-ACDB-FA168F91623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7" creationId="{0DF5F847-1964-0E8C-097C-C9CBE90DC4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8" creationId="{6EC92F4A-6B14-5F2B-0FFA-0A5E583BB41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9" creationId="{A535C756-3745-D13F-F55D-91454D749B7F}"/>
          </ac:spMkLst>
        </pc:s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6" creationId="{8E9A4689-AA96-8820-D6D5-3156B7341C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9" creationId="{4787F6A2-5D0F-11C9-1D29-95248A72A1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52" creationId="{0B2D9AB3-23CC-8701-C626-6EED60A6FCE0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60" creationId="{622AFD81-F965-7DF8-8407-33ACB3352209}"/>
          </ac:grpSpMkLst>
        </pc:grp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19" creationId="{5129E8F9-33A9-FC5E-336F-75830FF1C381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0" creationId="{9CA9F040-C30D-337E-CA40-B670F1E2EF20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1" creationId="{3CFDD541-1801-DEAB-C875-FF733038B2E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39" creationId="{7FEA9244-EE95-C247-9ED2-DC3D92DC1A49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48" creationId="{29D1E569-F517-F271-2250-1D35CC1D6AB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1" creationId="{2A1592DC-DDE5-219F-6FA1-087027761684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4" creationId="{53A81C2F-2675-BD84-863F-1C6BA4D905B0}"/>
          </ac:picMkLst>
        </pc:pic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79" creationId="{921C0E8B-86DB-E5B3-1329-DEE22EF6F00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3" creationId="{16A2606B-2308-EFAC-5B00-CAF1656259B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9" creationId="{1AA59A95-3254-D3B2-4041-3F16FD05C82E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2" creationId="{574B2C23-38CB-2004-6852-55D06164708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3" creationId="{78F562B5-A306-ED60-4477-85A762D0B74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4" creationId="{7B99E3C1-81FD-DAD1-FD56-CF4C365DB37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5" creationId="{8BACEC6E-CC5C-7B33-D04A-405B96AD96DA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6" creationId="{929D6AE4-258E-E3BA-34F3-1A8B61CAFA96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3" creationId="{BCBE51E6-24A0-2F28-2ED9-25AEDDB12328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4" creationId="{A08B1692-6CDD-D591-D4A0-D422723AEB3C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29" creationId="{BA365289-67EB-848D-2F7D-644C0083DB2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2" creationId="{471F6D81-E36A-790D-D92B-6E88202C953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4" creationId="{E3EF375D-6352-7D01-B7AB-D41261FCC4D9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5" creationId="{93EACC13-148C-4A6C-0FED-B86061E34161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8" creationId="{B623F54F-0B1C-F7DE-B081-339B1CDE39C0}"/>
          </ac:cxnSpMkLst>
        </pc:cxnChg>
      </pc:sldChg>
      <pc:sldChg chg="delSp mod">
        <pc:chgData name="Hanno Focken" userId="07ddbd8f-7dc8-4c50-855e-1be4be0ab5a1" providerId="ADAL" clId="{19D41F2B-6BA6-114E-B740-D17E1A3D9609}" dt="2023-09-26T12:27:21.371" v="0" actId="478"/>
        <pc:sldMkLst>
          <pc:docMk/>
          <pc:sldMk cId="2521528573" sldId="2147478965"/>
        </pc:sldMkLst>
        <pc:spChg chg="del">
          <ac:chgData name="Hanno Focken" userId="07ddbd8f-7dc8-4c50-855e-1be4be0ab5a1" providerId="ADAL" clId="{19D41F2B-6BA6-114E-B740-D17E1A3D9609}" dt="2023-09-26T12:27:21.371" v="0" actId="478"/>
          <ac:spMkLst>
            <pc:docMk/>
            <pc:sldMk cId="2521528573" sldId="2147478965"/>
            <ac:spMk id="5" creationId="{A27E9A14-D266-753D-1D5C-0B86688ED2DA}"/>
          </ac:spMkLst>
        </pc:spChg>
      </pc:sldChg>
    </pc:docChg>
  </pc:docChgLst>
  <pc:docChgLst>
    <pc:chgData name="Daniel Miehle" userId="S::daniel.miehle@catena-x.net::2ce2358f-c36f-469f-83f1-b89f40834cc8" providerId="AD" clId="Web-{2B3F8A2D-9327-FFA5-441D-48C757D1B3EF}"/>
    <pc:docChg chg="addSld modSld">
      <pc:chgData name="Daniel Miehle" userId="S::daniel.miehle@catena-x.net::2ce2358f-c36f-469f-83f1-b89f40834cc8" providerId="AD" clId="Web-{2B3F8A2D-9327-FFA5-441D-48C757D1B3EF}" dt="2024-04-04T10:55:45.668" v="17" actId="20577"/>
      <pc:docMkLst>
        <pc:docMk/>
      </pc:docMkLst>
      <pc:sldChg chg="addSp delSp modSp">
        <pc:chgData name="Daniel Miehle" userId="S::daniel.miehle@catena-x.net::2ce2358f-c36f-469f-83f1-b89f40834cc8" providerId="AD" clId="Web-{2B3F8A2D-9327-FFA5-441D-48C757D1B3EF}" dt="2024-04-04T10:54:40.417" v="2"/>
        <pc:sldMkLst>
          <pc:docMk/>
          <pc:sldMk cId="1632805154" sldId="2147478846"/>
        </pc:sldMkLst>
        <pc:spChg chg="add del mod">
          <ac:chgData name="Daniel Miehle" userId="S::daniel.miehle@catena-x.net::2ce2358f-c36f-469f-83f1-b89f40834cc8" providerId="AD" clId="Web-{2B3F8A2D-9327-FFA5-441D-48C757D1B3EF}" dt="2024-04-04T10:54:40.417" v="2"/>
          <ac:spMkLst>
            <pc:docMk/>
            <pc:sldMk cId="1632805154" sldId="2147478846"/>
            <ac:spMk id="5" creationId="{7F8DC2D2-7DCC-7F4D-AA6D-DEC7B5CCC13F}"/>
          </ac:spMkLst>
        </pc:spChg>
      </pc:sldChg>
      <pc:sldChg chg="modSp">
        <pc:chgData name="Daniel Miehle" userId="S::daniel.miehle@catena-x.net::2ce2358f-c36f-469f-83f1-b89f40834cc8" providerId="AD" clId="Web-{2B3F8A2D-9327-FFA5-441D-48C757D1B3EF}" dt="2024-04-04T10:55:31.136" v="15" actId="20577"/>
        <pc:sldMkLst>
          <pc:docMk/>
          <pc:sldMk cId="563177715" sldId="2147478960"/>
        </pc:sldMkLst>
        <pc:spChg chg="mod">
          <ac:chgData name="Daniel Miehle" userId="S::daniel.miehle@catena-x.net::2ce2358f-c36f-469f-83f1-b89f40834cc8" providerId="AD" clId="Web-{2B3F8A2D-9327-FFA5-441D-48C757D1B3EF}" dt="2024-04-04T10:55:31.136" v="15" actId="20577"/>
          <ac:spMkLst>
            <pc:docMk/>
            <pc:sldMk cId="563177715" sldId="2147478960"/>
            <ac:spMk id="2" creationId="{D5E426A1-FCE5-B851-4E8E-47D77FBD532F}"/>
          </ac:spMkLst>
        </pc:spChg>
      </pc:sldChg>
      <pc:sldChg chg="modSp add">
        <pc:chgData name="Daniel Miehle" userId="S::daniel.miehle@catena-x.net::2ce2358f-c36f-469f-83f1-b89f40834cc8" providerId="AD" clId="Web-{2B3F8A2D-9327-FFA5-441D-48C757D1B3EF}" dt="2024-04-04T10:55:45.668" v="17" actId="20577"/>
        <pc:sldMkLst>
          <pc:docMk/>
          <pc:sldMk cId="2452595415" sldId="2147478968"/>
        </pc:sldMkLst>
        <pc:spChg chg="mod">
          <ac:chgData name="Daniel Miehle" userId="S::daniel.miehle@catena-x.net::2ce2358f-c36f-469f-83f1-b89f40834cc8" providerId="AD" clId="Web-{2B3F8A2D-9327-FFA5-441D-48C757D1B3EF}" dt="2024-04-04T10:55:45.668" v="17" actId="20577"/>
          <ac:spMkLst>
            <pc:docMk/>
            <pc:sldMk cId="2452595415" sldId="2147478968"/>
            <ac:spMk id="2" creationId="{D5E426A1-FCE5-B851-4E8E-47D77FBD532F}"/>
          </ac:spMkLst>
        </pc:spChg>
        <pc:spChg chg="mod">
          <ac:chgData name="Daniel Miehle" userId="S::daniel.miehle@catena-x.net::2ce2358f-c36f-469f-83f1-b89f40834cc8" providerId="AD" clId="Web-{2B3F8A2D-9327-FFA5-441D-48C757D1B3EF}" dt="2024-04-04T10:55:09.793" v="4" actId="20577"/>
          <ac:spMkLst>
            <pc:docMk/>
            <pc:sldMk cId="2452595415" sldId="2147478968"/>
            <ac:spMk id="218" creationId="{924167B8-8D7A-2EA5-5DCC-4B8186D0F8CF}"/>
          </ac:spMkLst>
        </pc:spChg>
      </pc:sldChg>
    </pc:docChg>
  </pc:docChgLst>
  <pc:docChgLst>
    <pc:chgData name="Werner Roman FRD FIEA" userId="179b31d7-4203-431e-8a87-3306d648d012" providerId="ADAL" clId="{2D18474D-B58F-4D8F-B27F-390D4D96BD6C}"/>
    <pc:docChg chg="undo custSel addSld delSld modSld">
      <pc:chgData name="Werner Roman FRD FIEA" userId="179b31d7-4203-431e-8a87-3306d648d012" providerId="ADAL" clId="{2D18474D-B58F-4D8F-B27F-390D4D96BD6C}" dt="2023-10-06T11:52:00.989" v="164" actId="1035"/>
      <pc:docMkLst>
        <pc:docMk/>
      </pc:docMkLst>
      <pc:sldChg chg="delSp add mod">
        <pc:chgData name="Werner Roman FRD FIEA" userId="179b31d7-4203-431e-8a87-3306d648d012" providerId="ADAL" clId="{2D18474D-B58F-4D8F-B27F-390D4D96BD6C}" dt="2023-09-25T15:22:51.565" v="2" actId="478"/>
        <pc:sldMkLst>
          <pc:docMk/>
          <pc:sldMk cId="563177715" sldId="2147478960"/>
        </pc:sldMkLst>
        <pc:spChg chg="del">
          <ac:chgData name="Werner Roman FRD FIEA" userId="179b31d7-4203-431e-8a87-3306d648d012" providerId="ADAL" clId="{2D18474D-B58F-4D8F-B27F-390D4D96BD6C}" dt="2023-09-25T15:22:51.565" v="2" actId="478"/>
          <ac:spMkLst>
            <pc:docMk/>
            <pc:sldMk cId="563177715" sldId="2147478960"/>
            <ac:spMk id="9" creationId="{1DBE3300-227A-DC7D-0979-0B77DDACB5CD}"/>
          </ac:spMkLst>
        </pc:spChg>
      </pc:sldChg>
      <pc:sldChg chg="del">
        <pc:chgData name="Werner Roman FRD FIEA" userId="179b31d7-4203-431e-8a87-3306d648d012" providerId="ADAL" clId="{2D18474D-B58F-4D8F-B27F-390D4D96BD6C}" dt="2023-09-25T15:22:48.923" v="1" actId="47"/>
        <pc:sldMkLst>
          <pc:docMk/>
          <pc:sldMk cId="2677700689" sldId="2147478961"/>
        </pc:sldMkLst>
      </pc:sldChg>
      <pc:sldChg chg="modSp mod">
        <pc:chgData name="Werner Roman FRD FIEA" userId="179b31d7-4203-431e-8a87-3306d648d012" providerId="ADAL" clId="{2D18474D-B58F-4D8F-B27F-390D4D96BD6C}" dt="2023-10-06T11:52:00.989" v="164" actId="1035"/>
        <pc:sldMkLst>
          <pc:docMk/>
          <pc:sldMk cId="3185605821" sldId="2147478962"/>
        </pc:sldMkLst>
        <pc:spChg chg="mod">
          <ac:chgData name="Werner Roman FRD FIEA" userId="179b31d7-4203-431e-8a87-3306d648d012" providerId="ADAL" clId="{2D18474D-B58F-4D8F-B27F-390D4D96BD6C}" dt="2023-10-06T11:52:00.989" v="164" actId="1035"/>
          <ac:spMkLst>
            <pc:docMk/>
            <pc:sldMk cId="3185605821" sldId="2147478962"/>
            <ac:spMk id="7" creationId="{2EF47E01-B3CE-E740-466F-C61F99069165}"/>
          </ac:spMkLst>
        </pc:spChg>
      </pc:sldChg>
      <pc:sldChg chg="addSp delSp modSp add mod addCm delCm modCm">
        <pc:chgData name="Werner Roman FRD FIEA" userId="179b31d7-4203-431e-8a87-3306d648d012" providerId="ADAL" clId="{2D18474D-B58F-4D8F-B27F-390D4D96BD6C}" dt="2023-10-04T14:44:08.748" v="162" actId="20577"/>
        <pc:sldMkLst>
          <pc:docMk/>
          <pc:sldMk cId="3228577685" sldId="2147478967"/>
        </pc:sldMkLst>
        <pc:spChg chg="mod">
          <ac:chgData name="Werner Roman FRD FIEA" userId="179b31d7-4203-431e-8a87-3306d648d012" providerId="ADAL" clId="{2D18474D-B58F-4D8F-B27F-390D4D96BD6C}" dt="2023-10-04T14:11:43.290" v="20" actId="20577"/>
          <ac:spMkLst>
            <pc:docMk/>
            <pc:sldMk cId="3228577685" sldId="2147478967"/>
            <ac:spMk id="4" creationId="{74F025DB-E0BC-335E-FB4D-6BA13F62AC2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" creationId="{00758E3E-542E-5B00-DF1D-1BD7B6B517E4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" creationId="{78C59F8C-BCA5-31CF-9945-4EA1695C79C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" creationId="{2446D433-A1D7-BDA5-2E34-7BB9A4D3173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" creationId="{98A5F7A6-9569-0051-3F92-56383D96A37A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1" creationId="{B5D52A5D-B715-7FDF-B7AF-0112FCDEC279}"/>
          </ac:spMkLst>
        </pc:spChg>
        <pc:spChg chg="add del mod">
          <ac:chgData name="Werner Roman FRD FIEA" userId="179b31d7-4203-431e-8a87-3306d648d012" providerId="ADAL" clId="{2D18474D-B58F-4D8F-B27F-390D4D96BD6C}" dt="2023-10-04T14:13:15.632" v="24" actId="478"/>
          <ac:spMkLst>
            <pc:docMk/>
            <pc:sldMk cId="3228577685" sldId="2147478967"/>
            <ac:spMk id="12" creationId="{2C1C9978-7FFB-2AB5-8294-E00712BFCCDB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3" creationId="{058C70AE-88C9-AB90-9C2B-95B15A71666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4" creationId="{0BF418D7-964F-D281-0DA1-44A94BD25541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6" creationId="{F21FA148-5B5A-5B3D-3068-0FF4536EB443}"/>
          </ac:spMkLst>
        </pc:spChg>
        <pc:spChg chg="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17" creationId="{70E2BC1A-527B-2124-4A29-124924FED3C3}"/>
          </ac:spMkLst>
        </pc:spChg>
        <pc:spChg chg="del mod ord">
          <ac:chgData name="Werner Roman FRD FIEA" userId="179b31d7-4203-431e-8a87-3306d648d012" providerId="ADAL" clId="{2D18474D-B58F-4D8F-B27F-390D4D96BD6C}" dt="2023-10-04T14:39:29.788" v="69" actId="478"/>
          <ac:spMkLst>
            <pc:docMk/>
            <pc:sldMk cId="3228577685" sldId="2147478967"/>
            <ac:spMk id="18" creationId="{D63F5843-A6FD-6811-1E17-9D4F3E3818C7}"/>
          </ac:spMkLst>
        </pc:spChg>
        <pc:spChg chg="mod">
          <ac:chgData name="Werner Roman FRD FIEA" userId="179b31d7-4203-431e-8a87-3306d648d012" providerId="ADAL" clId="{2D18474D-B58F-4D8F-B27F-390D4D96BD6C}" dt="2023-10-04T14:44:00.429" v="157" actId="20577"/>
          <ac:spMkLst>
            <pc:docMk/>
            <pc:sldMk cId="3228577685" sldId="2147478967"/>
            <ac:spMk id="21" creationId="{93C2AFD6-10A2-8E12-0713-69DD53B20B5F}"/>
          </ac:spMkLst>
        </pc:spChg>
        <pc:spChg chg="mod">
          <ac:chgData name="Werner Roman FRD FIEA" userId="179b31d7-4203-431e-8a87-3306d648d012" providerId="ADAL" clId="{2D18474D-B58F-4D8F-B27F-390D4D96BD6C}" dt="2023-10-04T14:44:08.748" v="162" actId="20577"/>
          <ac:spMkLst>
            <pc:docMk/>
            <pc:sldMk cId="3228577685" sldId="2147478967"/>
            <ac:spMk id="22" creationId="{CBDFEDC6-259C-56BD-323D-477306F61869}"/>
          </ac:spMkLst>
        </pc:spChg>
        <pc:spChg chg="del">
          <ac:chgData name="Werner Roman FRD FIEA" userId="179b31d7-4203-431e-8a87-3306d648d012" providerId="ADAL" clId="{2D18474D-B58F-4D8F-B27F-390D4D96BD6C}" dt="2023-10-04T14:14:44.536" v="58" actId="478"/>
          <ac:spMkLst>
            <pc:docMk/>
            <pc:sldMk cId="3228577685" sldId="2147478967"/>
            <ac:spMk id="23" creationId="{95B07E25-9A76-02E8-7080-10C91A561380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4" creationId="{4DB5316E-0271-4BD6-7791-BD8EFC1A39A6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5" creationId="{EEE1FD01-302A-2371-EBEF-2830E442F761}"/>
          </ac:spMkLst>
        </pc:spChg>
        <pc:spChg chg="add mod">
          <ac:chgData name="Werner Roman FRD FIEA" userId="179b31d7-4203-431e-8a87-3306d648d012" providerId="ADAL" clId="{2D18474D-B58F-4D8F-B27F-390D4D96BD6C}" dt="2023-10-04T14:14:56.946" v="60" actId="1076"/>
          <ac:spMkLst>
            <pc:docMk/>
            <pc:sldMk cId="3228577685" sldId="2147478967"/>
            <ac:spMk id="26" creationId="{7CFA4B4D-8DBA-9E8F-6A66-EEDF331F2553}"/>
          </ac:spMkLst>
        </pc:spChg>
        <pc:spChg chg="add 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27" creationId="{5D7A8DBE-A9B8-2198-F692-E92DA59416AC}"/>
          </ac:spMkLst>
        </pc:spChg>
        <pc:spChg chg="add del mod">
          <ac:chgData name="Werner Roman FRD FIEA" userId="179b31d7-4203-431e-8a87-3306d648d012" providerId="ADAL" clId="{2D18474D-B58F-4D8F-B27F-390D4D96BD6C}" dt="2023-10-04T14:13:44.646" v="38" actId="21"/>
          <ac:spMkLst>
            <pc:docMk/>
            <pc:sldMk cId="3228577685" sldId="2147478967"/>
            <ac:spMk id="28" creationId="{3C25067B-6221-4F61-A336-9C71F57BB24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0" creationId="{837EDE02-69D8-C1F1-E49B-A0E5004EAA3B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2" creationId="{0D027C56-EBDE-1F0C-194D-F5289A5C66B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3" creationId="{B005B1EC-3366-0D3A-EBD1-DD0C79D5E4C7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5" creationId="{B8BAD508-85D4-72AC-4312-E444AF4D84A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7" creationId="{6C137AD1-65F6-60E4-0441-6C4ABC848068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0" creationId="{2CB55B8B-5285-E08C-0185-0D5ABD0B324F}"/>
          </ac:spMkLst>
        </pc:spChg>
        <pc:spChg chg="add mod">
          <ac:chgData name="Werner Roman FRD FIEA" userId="179b31d7-4203-431e-8a87-3306d648d012" providerId="ADAL" clId="{2D18474D-B58F-4D8F-B27F-390D4D96BD6C}" dt="2023-10-04T14:40:35.491" v="114" actId="14100"/>
          <ac:spMkLst>
            <pc:docMk/>
            <pc:sldMk cId="3228577685" sldId="2147478967"/>
            <ac:spMk id="41" creationId="{B14ADDC3-8506-DC30-F0F7-EFA0B41DEB4B}"/>
          </ac:spMkLst>
        </pc:spChg>
        <pc:spChg chg="add del mod">
          <ac:chgData name="Werner Roman FRD FIEA" userId="179b31d7-4203-431e-8a87-3306d648d012" providerId="ADAL" clId="{2D18474D-B58F-4D8F-B27F-390D4D96BD6C}" dt="2023-10-04T14:40:00.219" v="84" actId="478"/>
          <ac:spMkLst>
            <pc:docMk/>
            <pc:sldMk cId="3228577685" sldId="2147478967"/>
            <ac:spMk id="42" creationId="{2F885F81-E0B7-F10D-953D-D775E9CDCEF3}"/>
          </ac:spMkLst>
        </pc:spChg>
        <pc:spChg chg="add mod">
          <ac:chgData name="Werner Roman FRD FIEA" userId="179b31d7-4203-431e-8a87-3306d648d012" providerId="ADAL" clId="{2D18474D-B58F-4D8F-B27F-390D4D96BD6C}" dt="2023-10-04T14:41:13.145" v="138" actId="20577"/>
          <ac:spMkLst>
            <pc:docMk/>
            <pc:sldMk cId="3228577685" sldId="2147478967"/>
            <ac:spMk id="48" creationId="{0D72F51F-E155-7C1E-B942-361D66269686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9" creationId="{C9AEBFC1-040C-3FE1-5321-2F2DDD83CF2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7" creationId="{98D4562C-85D7-F4E4-9834-D4E6572DD5CA}"/>
          </ac:spMkLst>
        </pc:spChg>
        <pc:spChg chg="mod">
          <ac:chgData name="Werner Roman FRD FIEA" userId="179b31d7-4203-431e-8a87-3306d648d012" providerId="ADAL" clId="{2D18474D-B58F-4D8F-B27F-390D4D96BD6C}" dt="2023-10-04T14:42:27.168" v="151" actId="20577"/>
          <ac:spMkLst>
            <pc:docMk/>
            <pc:sldMk cId="3228577685" sldId="2147478967"/>
            <ac:spMk id="60" creationId="{D90F85CD-6C68-CB80-FF34-C7021BAEA687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4" creationId="{B28F2A7E-248A-3075-228B-932627DA90F8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9" creationId="{F4F40D9F-CCE3-B2D0-57AD-14EDCC2F1BE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2" creationId="{04F33F0F-8C06-98E5-A8BB-A54007B4EC1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5" creationId="{04760EF7-A90C-EA3F-95F7-76BD8538674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7" creationId="{ADDB2CC7-0E75-9541-0C81-03BCC8FAF30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3" creationId="{1474796F-4F8C-ACB8-EFB5-6A8F6812E53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3" creationId="{5BD5D5BA-6230-33EC-5FB7-7D513760EAB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4" creationId="{222994EC-2763-ABF5-3B08-684F700F888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7" creationId="{EC72F40D-2615-CFC7-8B4C-09E4D443B929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04" creationId="{6D9E58E5-9D61-CB46-1D2D-C5468906D1B3}"/>
          </ac:spMkLst>
        </pc:spChg>
        <pc:grpChg chg="mod">
          <ac:chgData name="Werner Roman FRD FIEA" userId="179b31d7-4203-431e-8a87-3306d648d012" providerId="ADAL" clId="{2D18474D-B58F-4D8F-B27F-390D4D96BD6C}" dt="2023-10-04T14:44:05.711" v="158" actId="14100"/>
          <ac:grpSpMkLst>
            <pc:docMk/>
            <pc:sldMk cId="3228577685" sldId="2147478967"/>
            <ac:grpSpMk id="3" creationId="{D88767D7-504D-3990-A3EA-01AFD59630A1}"/>
          </ac:grpSpMkLst>
        </pc:grpChg>
        <pc:grpChg chg="mod">
          <ac:chgData name="Werner Roman FRD FIEA" userId="179b31d7-4203-431e-8a87-3306d648d012" providerId="ADAL" clId="{2D18474D-B58F-4D8F-B27F-390D4D96BD6C}" dt="2023-10-04T14:40:08.723" v="102" actId="1035"/>
          <ac:grpSpMkLst>
            <pc:docMk/>
            <pc:sldMk cId="3228577685" sldId="2147478967"/>
            <ac:grpSpMk id="46" creationId="{E56317AA-5ED0-B376-420F-5AE7A1F43CBA}"/>
          </ac:grpSpMkLst>
        </pc:grpChg>
        <pc:grpChg chg="add mod">
          <ac:chgData name="Werner Roman FRD FIEA" userId="179b31d7-4203-431e-8a87-3306d648d012" providerId="ADAL" clId="{2D18474D-B58F-4D8F-B27F-390D4D96BD6C}" dt="2023-10-04T14:40:29.958" v="112" actId="1038"/>
          <ac:grpSpMkLst>
            <pc:docMk/>
            <pc:sldMk cId="3228577685" sldId="2147478967"/>
            <ac:grpSpMk id="47" creationId="{52CF040A-2736-69D0-9500-8346589E9560}"/>
          </ac:grpSpMkLst>
        </pc:grp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15" creationId="{42B16B73-6B2B-A8BE-3CA3-C661731C530D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29" creationId="{B78523AF-8B28-A54B-3441-9A146C1CDF17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1" creationId="{DE83A375-EFED-7961-F788-1381088E9A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34" creationId="{68B29791-D0DC-0AE9-8AF7-2C441F8CBD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6" creationId="{061943BD-230D-8650-D16E-F416FBB100A5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9" creationId="{847C4629-77F8-5F49-0E41-F546EB40D1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1" creationId="{A5DE6610-72CC-85E4-4FA8-8A9B848ED2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54" creationId="{8E46F09A-7E1C-2DB2-1C02-CD10A1104A56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9" creationId="{0028DEDF-959A-CA2C-0945-C94A71542004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65" creationId="{C19EFDCE-7D47-1952-994D-5D94817D377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89" creationId="{666018D8-8EA6-1888-D232-B39B370D488B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92" creationId="{0A4B29D2-9DE4-3A7F-3320-A1B71AEBA114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101" creationId="{59FF9A96-E36F-948D-B5A5-94E362B833BB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28.05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28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3043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hteck 178">
            <a:extLst>
              <a:ext uri="{FF2B5EF4-FFF2-40B4-BE49-F238E27FC236}">
                <a16:creationId xmlns:a16="http://schemas.microsoft.com/office/drawing/2014/main" id="{94FB504C-38C2-FD48-B151-E7D15976A141}"/>
              </a:ext>
            </a:extLst>
          </p:cNvPr>
          <p:cNvSpPr/>
          <p:nvPr/>
        </p:nvSpPr>
        <p:spPr>
          <a:xfrm>
            <a:off x="470187" y="3420063"/>
            <a:ext cx="5470058" cy="1692000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nrope" pitchFamily="2" charset="0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C1BE4CA-2C94-8443-A702-891FCA292940}"/>
              </a:ext>
            </a:extLst>
          </p:cNvPr>
          <p:cNvSpPr/>
          <p:nvPr/>
        </p:nvSpPr>
        <p:spPr>
          <a:xfrm>
            <a:off x="468001" y="1757763"/>
            <a:ext cx="5472244" cy="1446200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nrope" pitchFamily="2" charset="0"/>
            </a:endParaRPr>
          </a:p>
        </p:txBody>
      </p:sp>
      <p:sp>
        <p:nvSpPr>
          <p:cNvPr id="119" name="Textfeld 118">
            <a:extLst>
              <a:ext uri="{FF2B5EF4-FFF2-40B4-BE49-F238E27FC236}">
                <a16:creationId xmlns:a16="http://schemas.microsoft.com/office/drawing/2014/main" id="{287F2D92-7496-9044-BD93-752FA54FED1E}"/>
              </a:ext>
            </a:extLst>
          </p:cNvPr>
          <p:cNvSpPr txBox="1"/>
          <p:nvPr/>
        </p:nvSpPr>
        <p:spPr>
          <a:xfrm rot="16200000">
            <a:off x="-219494" y="4150647"/>
            <a:ext cx="169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>
                <a:latin typeface="Manrope" pitchFamily="2" charset="0"/>
              </a:rPr>
              <a:t>Catena-X Associa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57D57-E6B0-6548-96C1-58D371E9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ABE9224-CC26-C246-832B-8666E01C9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530961"/>
          </a:xfrm>
        </p:spPr>
        <p:txBody>
          <a:bodyPr/>
          <a:lstStyle/>
          <a:p>
            <a:r>
              <a:rPr lang="en-US" dirty="0" err="1">
                <a:cs typeface="Arial"/>
              </a:rPr>
              <a:t>SubProcess</a:t>
            </a:r>
            <a:r>
              <a:rPr lang="en-US" dirty="0">
                <a:cs typeface="Arial"/>
              </a:rPr>
              <a:t> Whitelis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89C9084-971D-EF40-9819-8D8A70BDE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7" name="Vertikaler Textplatzhalter 6">
            <a:extLst>
              <a:ext uri="{FF2B5EF4-FFF2-40B4-BE49-F238E27FC236}">
                <a16:creationId xmlns:a16="http://schemas.microsoft.com/office/drawing/2014/main" id="{3C9B0F74-BB3F-2D47-870A-5E43BBC95756}"/>
              </a:ext>
            </a:extLst>
          </p:cNvPr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6EC550E2-D5A0-EF1B-9921-E900CE44723A}"/>
              </a:ext>
            </a:extLst>
          </p:cNvPr>
          <p:cNvCxnSpPr>
            <a:cxnSpLocks/>
            <a:stCxn id="4" idx="3"/>
            <a:endCxn id="27" idx="2"/>
          </p:cNvCxnSpPr>
          <p:nvPr/>
        </p:nvCxnSpPr>
        <p:spPr>
          <a:xfrm>
            <a:off x="2726049" y="2256934"/>
            <a:ext cx="1161765" cy="302009"/>
          </a:xfrm>
          <a:prstGeom prst="bentConnector3">
            <a:avLst>
              <a:gd name="adj1" fmla="val 48688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68D7615E-CDE7-D44E-73E1-F625C94B6149}"/>
              </a:ext>
            </a:extLst>
          </p:cNvPr>
          <p:cNvSpPr txBox="1"/>
          <p:nvPr/>
        </p:nvSpPr>
        <p:spPr>
          <a:xfrm>
            <a:off x="3594202" y="1917779"/>
            <a:ext cx="9472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Manrope" pitchFamily="2" charset="0"/>
              </a:rPr>
              <a:t>Provide req. informa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39408FCF-6506-1A26-83F4-544D4C7C09D4}"/>
              </a:ext>
            </a:extLst>
          </p:cNvPr>
          <p:cNvCxnSpPr>
            <a:cxnSpLocks/>
            <a:stCxn id="57" idx="3"/>
            <a:endCxn id="82" idx="2"/>
          </p:cNvCxnSpPr>
          <p:nvPr/>
        </p:nvCxnSpPr>
        <p:spPr>
          <a:xfrm flipV="1">
            <a:off x="4130586" y="4266063"/>
            <a:ext cx="648000" cy="43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7">
            <a:extLst>
              <a:ext uri="{FF2B5EF4-FFF2-40B4-BE49-F238E27FC236}">
                <a16:creationId xmlns:a16="http://schemas.microsoft.com/office/drawing/2014/main" id="{2668FD5B-E38B-6357-9074-99501DEC80B5}"/>
              </a:ext>
            </a:extLst>
          </p:cNvPr>
          <p:cNvSpPr>
            <a:spLocks noChangeAspect="1"/>
          </p:cNvSpPr>
          <p:nvPr/>
        </p:nvSpPr>
        <p:spPr>
          <a:xfrm>
            <a:off x="845902" y="2680951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latin typeface="Manrope" pitchFamily="2" charset="0"/>
            </a:endParaRPr>
          </a:p>
        </p:txBody>
      </p:sp>
      <p:sp>
        <p:nvSpPr>
          <p:cNvPr id="4" name="Abgerundetes Rechteck 18">
            <a:extLst>
              <a:ext uri="{FF2B5EF4-FFF2-40B4-BE49-F238E27FC236}">
                <a16:creationId xmlns:a16="http://schemas.microsoft.com/office/drawing/2014/main" id="{9745650D-EB23-066B-E307-E121DC69EE27}"/>
              </a:ext>
            </a:extLst>
          </p:cNvPr>
          <p:cNvSpPr/>
          <p:nvPr/>
        </p:nvSpPr>
        <p:spPr>
          <a:xfrm>
            <a:off x="1646049" y="2076934"/>
            <a:ext cx="1080000" cy="360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anrope" pitchFamily="2" charset="0"/>
              </a:rPr>
              <a:t>successful onboarding</a:t>
            </a:r>
          </a:p>
        </p:txBody>
      </p:sp>
      <p:sp>
        <p:nvSpPr>
          <p:cNvPr id="12" name="Abgerundetes Rechteck 18">
            <a:extLst>
              <a:ext uri="{FF2B5EF4-FFF2-40B4-BE49-F238E27FC236}">
                <a16:creationId xmlns:a16="http://schemas.microsoft.com/office/drawing/2014/main" id="{ECAB0124-9999-D025-4BF8-B1DB0BB8A7C1}"/>
              </a:ext>
            </a:extLst>
          </p:cNvPr>
          <p:cNvSpPr/>
          <p:nvPr/>
        </p:nvSpPr>
        <p:spPr>
          <a:xfrm>
            <a:off x="1646049" y="2680951"/>
            <a:ext cx="1080000" cy="360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Manrope" pitchFamily="2" charset="0"/>
              </a:rPr>
              <a:t>successful certifica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207885D6-D396-E4BB-777C-683EDD15CC3D}"/>
              </a:ext>
            </a:extLst>
          </p:cNvPr>
          <p:cNvSpPr txBox="1"/>
          <p:nvPr/>
        </p:nvSpPr>
        <p:spPr>
          <a:xfrm>
            <a:off x="3999549" y="2834745"/>
            <a:ext cx="8760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Manrope" pitchFamily="2" charset="0"/>
              </a:rPr>
              <a:t>5 working day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C980283-C947-33DB-B0E3-7165863A6E3C}"/>
              </a:ext>
            </a:extLst>
          </p:cNvPr>
          <p:cNvGrpSpPr/>
          <p:nvPr/>
        </p:nvGrpSpPr>
        <p:grpSpPr>
          <a:xfrm>
            <a:off x="3887814" y="2378943"/>
            <a:ext cx="360000" cy="360000"/>
            <a:chOff x="6229967" y="2067598"/>
            <a:chExt cx="360000" cy="36000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062750F-3EE1-343B-6DE0-D063CD526D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29967" y="2067598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Manrope" pitchFamily="2" charset="0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49C5BC55-1A03-EC86-C709-8F90ACCE3C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8253" y="2112001"/>
              <a:ext cx="203428" cy="2711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1" name="Gerade Verbindung mit Pfeil 47">
            <a:extLst>
              <a:ext uri="{FF2B5EF4-FFF2-40B4-BE49-F238E27FC236}">
                <a16:creationId xmlns:a16="http://schemas.microsoft.com/office/drawing/2014/main" id="{8474266F-ADA4-FC19-7385-A5B22ECAC810}"/>
              </a:ext>
            </a:extLst>
          </p:cNvPr>
          <p:cNvCxnSpPr>
            <a:cxnSpLocks/>
            <a:stCxn id="8" idx="6"/>
            <a:endCxn id="4" idx="1"/>
          </p:cNvCxnSpPr>
          <p:nvPr/>
        </p:nvCxnSpPr>
        <p:spPr>
          <a:xfrm>
            <a:off x="1191031" y="2256934"/>
            <a:ext cx="45501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47">
            <a:extLst>
              <a:ext uri="{FF2B5EF4-FFF2-40B4-BE49-F238E27FC236}">
                <a16:creationId xmlns:a16="http://schemas.microsoft.com/office/drawing/2014/main" id="{4A58AE37-72D1-F7ED-D74F-1B355B1DB657}"/>
              </a:ext>
            </a:extLst>
          </p:cNvPr>
          <p:cNvCxnSpPr>
            <a:cxnSpLocks/>
            <a:stCxn id="3" idx="6"/>
            <a:endCxn id="12" idx="1"/>
          </p:cNvCxnSpPr>
          <p:nvPr/>
        </p:nvCxnSpPr>
        <p:spPr>
          <a:xfrm>
            <a:off x="1205902" y="2860951"/>
            <a:ext cx="4401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47">
            <a:extLst>
              <a:ext uri="{FF2B5EF4-FFF2-40B4-BE49-F238E27FC236}">
                <a16:creationId xmlns:a16="http://schemas.microsoft.com/office/drawing/2014/main" id="{9E5DDA81-5925-15CE-0556-2D00471FF0DA}"/>
              </a:ext>
            </a:extLst>
          </p:cNvPr>
          <p:cNvCxnSpPr>
            <a:cxnSpLocks/>
            <a:stCxn id="12" idx="3"/>
            <a:endCxn id="27" idx="2"/>
          </p:cNvCxnSpPr>
          <p:nvPr/>
        </p:nvCxnSpPr>
        <p:spPr>
          <a:xfrm flipV="1">
            <a:off x="2726049" y="2558943"/>
            <a:ext cx="1161765" cy="302008"/>
          </a:xfrm>
          <a:prstGeom prst="bentConnector3">
            <a:avLst>
              <a:gd name="adj1" fmla="val 48688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980E816-03D8-CF04-3D9A-58E2849A0C66}"/>
              </a:ext>
            </a:extLst>
          </p:cNvPr>
          <p:cNvGrpSpPr/>
          <p:nvPr/>
        </p:nvGrpSpPr>
        <p:grpSpPr>
          <a:xfrm>
            <a:off x="1113180" y="3718101"/>
            <a:ext cx="3017406" cy="1104697"/>
            <a:chOff x="1079802" y="3673010"/>
            <a:chExt cx="3017406" cy="1104697"/>
          </a:xfrm>
        </p:grpSpPr>
        <p:sp>
          <p:nvSpPr>
            <p:cNvPr id="57" name="Abgerundetes Rechteck 86">
              <a:extLst>
                <a:ext uri="{FF2B5EF4-FFF2-40B4-BE49-F238E27FC236}">
                  <a16:creationId xmlns:a16="http://schemas.microsoft.com/office/drawing/2014/main" id="{A2353ABD-652B-99A2-037C-B4C3A833E916}"/>
                </a:ext>
              </a:extLst>
            </p:cNvPr>
            <p:cNvSpPr/>
            <p:nvPr/>
          </p:nvSpPr>
          <p:spPr>
            <a:xfrm>
              <a:off x="1079802" y="3673010"/>
              <a:ext cx="3017406" cy="1104697"/>
            </a:xfrm>
            <a:prstGeom prst="roundRect">
              <a:avLst/>
            </a:prstGeom>
            <a:solidFill>
              <a:srgbClr val="FFFFFF">
                <a:alpha val="29804"/>
              </a:srgbClr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anrope" pitchFamily="2" charset="0"/>
                </a:rPr>
                <a:t>Dataspace Operations Committee</a:t>
              </a:r>
            </a:p>
          </p:txBody>
        </p:sp>
        <p:sp>
          <p:nvSpPr>
            <p:cNvPr id="58" name="Abgerundetes Rechteck 20">
              <a:extLst>
                <a:ext uri="{FF2B5EF4-FFF2-40B4-BE49-F238E27FC236}">
                  <a16:creationId xmlns:a16="http://schemas.microsoft.com/office/drawing/2014/main" id="{F3CECB10-E476-8C8C-D246-EA9957D098D8}"/>
                </a:ext>
              </a:extLst>
            </p:cNvPr>
            <p:cNvSpPr/>
            <p:nvPr/>
          </p:nvSpPr>
          <p:spPr>
            <a:xfrm>
              <a:off x="1162581" y="3963212"/>
              <a:ext cx="900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anrope" pitchFamily="2" charset="0"/>
                </a:rPr>
                <a:t>Review for completeness</a:t>
              </a:r>
            </a:p>
          </p:txBody>
        </p:sp>
        <p:sp>
          <p:nvSpPr>
            <p:cNvPr id="59" name="Abgerundetes Rechteck 31">
              <a:extLst>
                <a:ext uri="{FF2B5EF4-FFF2-40B4-BE49-F238E27FC236}">
                  <a16:creationId xmlns:a16="http://schemas.microsoft.com/office/drawing/2014/main" id="{064AD2D4-30C0-04D9-82B5-1DE10B48624F}"/>
                </a:ext>
              </a:extLst>
            </p:cNvPr>
            <p:cNvSpPr/>
            <p:nvPr/>
          </p:nvSpPr>
          <p:spPr>
            <a:xfrm>
              <a:off x="2205849" y="3963212"/>
              <a:ext cx="828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anrope" pitchFamily="2" charset="0"/>
                </a:rPr>
                <a:t>Formal Check</a:t>
              </a:r>
            </a:p>
          </p:txBody>
        </p:sp>
        <p:sp>
          <p:nvSpPr>
            <p:cNvPr id="60" name="Abgerundetes Rechteck 37">
              <a:extLst>
                <a:ext uri="{FF2B5EF4-FFF2-40B4-BE49-F238E27FC236}">
                  <a16:creationId xmlns:a16="http://schemas.microsoft.com/office/drawing/2014/main" id="{C8684968-90EE-5C17-9678-A9A11A57FF7D}"/>
                </a:ext>
              </a:extLst>
            </p:cNvPr>
            <p:cNvSpPr/>
            <p:nvPr/>
          </p:nvSpPr>
          <p:spPr>
            <a:xfrm>
              <a:off x="3177117" y="3963212"/>
              <a:ext cx="828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Manrope" pitchFamily="2" charset="0"/>
                </a:rPr>
                <a:t>Approval</a:t>
              </a:r>
            </a:p>
          </p:txBody>
        </p:sp>
        <p:cxnSp>
          <p:nvCxnSpPr>
            <p:cNvPr id="61" name="Gerade Verbindung mit Pfeil 153">
              <a:extLst>
                <a:ext uri="{FF2B5EF4-FFF2-40B4-BE49-F238E27FC236}">
                  <a16:creationId xmlns:a16="http://schemas.microsoft.com/office/drawing/2014/main" id="{166461E2-A33C-103E-E05F-57D4EF3CDC5F}"/>
                </a:ext>
              </a:extLst>
            </p:cNvPr>
            <p:cNvCxnSpPr>
              <a:cxnSpLocks/>
              <a:stCxn id="58" idx="3"/>
              <a:endCxn id="59" idx="1"/>
            </p:cNvCxnSpPr>
            <p:nvPr/>
          </p:nvCxnSpPr>
          <p:spPr>
            <a:xfrm>
              <a:off x="2062581" y="4323212"/>
              <a:ext cx="143268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mit Pfeil 41">
              <a:extLst>
                <a:ext uri="{FF2B5EF4-FFF2-40B4-BE49-F238E27FC236}">
                  <a16:creationId xmlns:a16="http://schemas.microsoft.com/office/drawing/2014/main" id="{A6E9DCBD-C8E3-F6D8-67A1-34DCE62ECF6F}"/>
                </a:ext>
              </a:extLst>
            </p:cNvPr>
            <p:cNvCxnSpPr>
              <a:cxnSpLocks/>
              <a:stCxn id="59" idx="3"/>
              <a:endCxn id="60" idx="1"/>
            </p:cNvCxnSpPr>
            <p:nvPr/>
          </p:nvCxnSpPr>
          <p:spPr>
            <a:xfrm>
              <a:off x="3033849" y="4323212"/>
              <a:ext cx="143268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4" name="Gerade Verbindung mit Pfeil 47">
            <a:extLst>
              <a:ext uri="{FF2B5EF4-FFF2-40B4-BE49-F238E27FC236}">
                <a16:creationId xmlns:a16="http://schemas.microsoft.com/office/drawing/2014/main" id="{565DD0B5-B247-E6B6-2AEB-F26A14F745BC}"/>
              </a:ext>
            </a:extLst>
          </p:cNvPr>
          <p:cNvCxnSpPr>
            <a:cxnSpLocks/>
            <a:stCxn id="27" idx="4"/>
            <a:endCxn id="57" idx="1"/>
          </p:cNvCxnSpPr>
          <p:nvPr/>
        </p:nvCxnSpPr>
        <p:spPr>
          <a:xfrm rot="5400000">
            <a:off x="1824744" y="2027379"/>
            <a:ext cx="1531507" cy="2954634"/>
          </a:xfrm>
          <a:prstGeom prst="bentConnector4">
            <a:avLst>
              <a:gd name="adj1" fmla="val 36943"/>
              <a:gd name="adj2" fmla="val 1077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uppieren 19">
            <a:extLst>
              <a:ext uri="{FF2B5EF4-FFF2-40B4-BE49-F238E27FC236}">
                <a16:creationId xmlns:a16="http://schemas.microsoft.com/office/drawing/2014/main" id="{8B356BEC-C650-6403-4716-BE6D7920C771}"/>
              </a:ext>
            </a:extLst>
          </p:cNvPr>
          <p:cNvGrpSpPr/>
          <p:nvPr/>
        </p:nvGrpSpPr>
        <p:grpSpPr>
          <a:xfrm>
            <a:off x="3862126" y="4663790"/>
            <a:ext cx="288000" cy="288000"/>
            <a:chOff x="9630621" y="1836931"/>
            <a:chExt cx="288000" cy="28800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D8F181B5-EC55-0F36-0C47-A661037A5C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6160" y="1842470"/>
              <a:ext cx="276923" cy="27692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Manrope" pitchFamily="2" charset="0"/>
              </a:endParaRPr>
            </a:p>
          </p:txBody>
        </p:sp>
        <p:pic>
          <p:nvPicPr>
            <p:cNvPr id="80" name="Grafik 25" descr="Uhr Silhouette">
              <a:extLst>
                <a:ext uri="{FF2B5EF4-FFF2-40B4-BE49-F238E27FC236}">
                  <a16:creationId xmlns:a16="http://schemas.microsoft.com/office/drawing/2014/main" id="{DB426D9A-E9A5-5FA6-4AD7-2BE2D2CE0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30621" y="1836931"/>
              <a:ext cx="288000" cy="288000"/>
            </a:xfrm>
            <a:prstGeom prst="rect">
              <a:avLst/>
            </a:prstGeom>
          </p:spPr>
        </p:pic>
      </p:grpSp>
      <p:sp>
        <p:nvSpPr>
          <p:cNvPr id="81" name="Textfeld 48">
            <a:extLst>
              <a:ext uri="{FF2B5EF4-FFF2-40B4-BE49-F238E27FC236}">
                <a16:creationId xmlns:a16="http://schemas.microsoft.com/office/drawing/2014/main" id="{DBEFC646-CDB7-B0D9-3705-A929395EA83A}"/>
              </a:ext>
            </a:extLst>
          </p:cNvPr>
          <p:cNvSpPr txBox="1"/>
          <p:nvPr/>
        </p:nvSpPr>
        <p:spPr>
          <a:xfrm>
            <a:off x="3834705" y="4913466"/>
            <a:ext cx="8262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Manrope" pitchFamily="2" charset="0"/>
              </a:rPr>
              <a:t>5 working days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B6720F8D-006B-F76B-134A-3312A89927DB}"/>
              </a:ext>
            </a:extLst>
          </p:cNvPr>
          <p:cNvSpPr>
            <a:spLocks noChangeAspect="1"/>
          </p:cNvSpPr>
          <p:nvPr/>
        </p:nvSpPr>
        <p:spPr>
          <a:xfrm>
            <a:off x="4778586" y="4086063"/>
            <a:ext cx="360000" cy="36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latin typeface="Manrope" pitchFamily="2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86661-276A-4712-0357-25AFFF2D4054}"/>
              </a:ext>
            </a:extLst>
          </p:cNvPr>
          <p:cNvSpPr>
            <a:spLocks noChangeAspect="1"/>
          </p:cNvSpPr>
          <p:nvPr/>
        </p:nvSpPr>
        <p:spPr>
          <a:xfrm>
            <a:off x="831031" y="2076934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latin typeface="Manrope" pitchFamily="2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D91BE72-102C-E3EC-12B3-778B4E9B0765}"/>
              </a:ext>
            </a:extLst>
          </p:cNvPr>
          <p:cNvGrpSpPr/>
          <p:nvPr/>
        </p:nvGrpSpPr>
        <p:grpSpPr>
          <a:xfrm>
            <a:off x="521913" y="2063476"/>
            <a:ext cx="230833" cy="1033997"/>
            <a:chOff x="521913" y="2063476"/>
            <a:chExt cx="230833" cy="1033997"/>
          </a:xfrm>
        </p:grpSpPr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09C3DC18-A591-274D-9B6E-F0BBF0F3006B}"/>
                </a:ext>
              </a:extLst>
            </p:cNvPr>
            <p:cNvSpPr txBox="1"/>
            <p:nvPr/>
          </p:nvSpPr>
          <p:spPr>
            <a:xfrm rot="16200000">
              <a:off x="436711" y="2148679"/>
              <a:ext cx="401237" cy="2308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900" b="1" dirty="0">
                  <a:latin typeface="Manrope" pitchFamily="2" charset="0"/>
                </a:rPr>
                <a:t>OSP</a:t>
              </a:r>
            </a:p>
          </p:txBody>
        </p:sp>
        <p:sp>
          <p:nvSpPr>
            <p:cNvPr id="23" name="Textfeld 117">
              <a:extLst>
                <a:ext uri="{FF2B5EF4-FFF2-40B4-BE49-F238E27FC236}">
                  <a16:creationId xmlns:a16="http://schemas.microsoft.com/office/drawing/2014/main" id="{5623E9BE-C5BA-188F-1739-38A991BD120E}"/>
                </a:ext>
              </a:extLst>
            </p:cNvPr>
            <p:cNvSpPr txBox="1"/>
            <p:nvPr/>
          </p:nvSpPr>
          <p:spPr>
            <a:xfrm rot="16200000">
              <a:off x="400807" y="2745535"/>
              <a:ext cx="473044" cy="2308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900" b="1" dirty="0">
                  <a:latin typeface="Manrope" pitchFamily="2" charset="0"/>
                </a:rPr>
                <a:t>CAB</a:t>
              </a:r>
            </a:p>
          </p:txBody>
        </p:sp>
      </p:grpSp>
      <p:grpSp>
        <p:nvGrpSpPr>
          <p:cNvPr id="13" name="Gruppieren 19">
            <a:extLst>
              <a:ext uri="{FF2B5EF4-FFF2-40B4-BE49-F238E27FC236}">
                <a16:creationId xmlns:a16="http://schemas.microsoft.com/office/drawing/2014/main" id="{3A0FB816-5213-1DD2-D817-9F813AE1D7CD}"/>
              </a:ext>
            </a:extLst>
          </p:cNvPr>
          <p:cNvGrpSpPr/>
          <p:nvPr/>
        </p:nvGrpSpPr>
        <p:grpSpPr>
          <a:xfrm>
            <a:off x="4149553" y="2571452"/>
            <a:ext cx="288000" cy="288000"/>
            <a:chOff x="9630621" y="1836931"/>
            <a:chExt cx="288000" cy="2880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FB361DE-5298-2E27-2EF4-DB56C56BAF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6160" y="1842470"/>
              <a:ext cx="276923" cy="27692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Manrope" pitchFamily="2" charset="0"/>
              </a:endParaRPr>
            </a:p>
          </p:txBody>
        </p:sp>
        <p:pic>
          <p:nvPicPr>
            <p:cNvPr id="16" name="Grafik 25" descr="Uhr Silhouette">
              <a:extLst>
                <a:ext uri="{FF2B5EF4-FFF2-40B4-BE49-F238E27FC236}">
                  <a16:creationId xmlns:a16="http://schemas.microsoft.com/office/drawing/2014/main" id="{C16793DA-4846-4B2F-F1CA-68D6C9D3F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30621" y="1836931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4485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2" ma:contentTypeDescription="Create a new document." ma:contentTypeScope="" ma:versionID="45651102af3a6ada6a20a4688d50b674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ee6f4aaf04d1e7f65d6882bd950b6e4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Props1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FF7FA1-5388-41BF-8FE9-A9A4A91139FC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C92D651-CF17-458D-BAB0-968B56BA4133}">
  <ds:schemaRefs>
    <ds:schemaRef ds:uri="067b8054-3481-4999-9b89-5a9a3729820c"/>
    <ds:schemaRef ds:uri="5a227215-964f-4a25-9d8e-8f9bac637ca9"/>
    <ds:schemaRef ds:uri="d7dd674e-4de6-433a-8f64-01f564a0183e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35</Words>
  <Application>Microsoft Office PowerPoint</Application>
  <PresentationFormat>Custom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Manrope</vt:lpstr>
      <vt:lpstr>Catena-X PowerPoint Master</vt:lpstr>
      <vt:lpstr>Catena-X PowerPoint Master</vt:lpstr>
      <vt:lpstr>think-cell Folie</vt:lpstr>
      <vt:lpstr>think-cell Slide</vt:lpstr>
      <vt:lpstr>SubProcess Whiteli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Roman Werner</cp:lastModifiedBy>
  <cp:revision>10</cp:revision>
  <cp:lastPrinted>2023-09-25T09:17:58Z</cp:lastPrinted>
  <dcterms:created xsi:type="dcterms:W3CDTF">2021-12-08T08:40:32Z</dcterms:created>
  <dcterms:modified xsi:type="dcterms:W3CDTF">2024-05-28T14:5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94a1c8-9899-41e7-8f6e-8b1b3c79592a_Enabled">
    <vt:lpwstr>true</vt:lpwstr>
  </property>
  <property fmtid="{D5CDD505-2E9C-101B-9397-08002B2CF9AE}" pid="3" name="MSIP_Label_7294a1c8-9899-41e7-8f6e-8b1b3c79592a_Name">
    <vt:lpwstr>Internal sub2 (no marking)</vt:lpwstr>
  </property>
  <property fmtid="{D5CDD505-2E9C-101B-9397-08002B2CF9AE}" pid="4" name="MSIP_Label_7294a1c8-9899-41e7-8f6e-8b1b3c79592a_Method">
    <vt:lpwstr>Privileged</vt:lpwstr>
  </property>
  <property fmtid="{D5CDD505-2E9C-101B-9397-08002B2CF9AE}" pid="5" name="MSIP_Label_7294a1c8-9899-41e7-8f6e-8b1b3c79592a_SetDate">
    <vt:lpwstr>2022-10-12T17:25:59Z</vt:lpwstr>
  </property>
  <property fmtid="{D5CDD505-2E9C-101B-9397-08002B2CF9AE}" pid="6" name="MSIP_Label_7294a1c8-9899-41e7-8f6e-8b1b3c79592a_ActionId">
    <vt:lpwstr>8e3a4931-6d70-4069-9dee-2ffb7d7eda15</vt:lpwstr>
  </property>
  <property fmtid="{D5CDD505-2E9C-101B-9397-08002B2CF9AE}" pid="7" name="MSIP_Label_7294a1c8-9899-41e7-8f6e-8b1b3c79592a_ContentBits">
    <vt:lpwstr>0</vt:lpwstr>
  </property>
  <property fmtid="{D5CDD505-2E9C-101B-9397-08002B2CF9AE}" pid="8" name="MSIP_Label_7294a1c8-9899-41e7-8f6e-8b1b3c79592a_SiteId">
    <vt:lpwstr>eb70b763-b6d7-4486-8555-8831709a784e</vt:lpwstr>
  </property>
  <property fmtid="{D5CDD505-2E9C-101B-9397-08002B2CF9AE}" pid="9" name="ContentTypeId">
    <vt:lpwstr>0x0101000B6932D3EDDA8143B32FA8AD5C5501B9</vt:lpwstr>
  </property>
  <property fmtid="{D5CDD505-2E9C-101B-9397-08002B2CF9AE}" pid="10" name="MediaServiceImageTags">
    <vt:lpwstr/>
  </property>
</Properties>
</file>